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9"/>
  </p:notesMasterIdLst>
  <p:handoutMasterIdLst>
    <p:handoutMasterId r:id="rId100"/>
  </p:handoutMasterIdLst>
  <p:sldIdLst>
    <p:sldId id="467" r:id="rId2"/>
    <p:sldId id="413" r:id="rId3"/>
    <p:sldId id="588" r:id="rId4"/>
    <p:sldId id="478" r:id="rId5"/>
    <p:sldId id="479" r:id="rId6"/>
    <p:sldId id="480" r:id="rId7"/>
    <p:sldId id="481" r:id="rId8"/>
    <p:sldId id="482" r:id="rId9"/>
    <p:sldId id="261" r:id="rId10"/>
    <p:sldId id="519" r:id="rId11"/>
    <p:sldId id="486" r:id="rId12"/>
    <p:sldId id="485" r:id="rId13"/>
    <p:sldId id="487" r:id="rId14"/>
    <p:sldId id="488" r:id="rId15"/>
    <p:sldId id="489" r:id="rId16"/>
    <p:sldId id="508" r:id="rId17"/>
    <p:sldId id="491" r:id="rId18"/>
    <p:sldId id="490" r:id="rId19"/>
    <p:sldId id="492" r:id="rId20"/>
    <p:sldId id="495" r:id="rId21"/>
    <p:sldId id="493" r:id="rId22"/>
    <p:sldId id="494" r:id="rId23"/>
    <p:sldId id="496" r:id="rId24"/>
    <p:sldId id="498" r:id="rId25"/>
    <p:sldId id="497" r:id="rId26"/>
    <p:sldId id="499" r:id="rId27"/>
    <p:sldId id="500" r:id="rId28"/>
    <p:sldId id="501" r:id="rId29"/>
    <p:sldId id="502" r:id="rId30"/>
    <p:sldId id="469" r:id="rId31"/>
    <p:sldId id="504" r:id="rId32"/>
    <p:sldId id="506" r:id="rId33"/>
    <p:sldId id="507" r:id="rId34"/>
    <p:sldId id="503" r:id="rId35"/>
    <p:sldId id="551" r:id="rId36"/>
    <p:sldId id="513" r:id="rId37"/>
    <p:sldId id="512" r:id="rId38"/>
    <p:sldId id="517" r:id="rId39"/>
    <p:sldId id="514" r:id="rId40"/>
    <p:sldId id="515" r:id="rId41"/>
    <p:sldId id="516" r:id="rId42"/>
    <p:sldId id="511" r:id="rId43"/>
    <p:sldId id="521" r:id="rId44"/>
    <p:sldId id="522" r:id="rId45"/>
    <p:sldId id="523" r:id="rId46"/>
    <p:sldId id="535" r:id="rId47"/>
    <p:sldId id="524" r:id="rId48"/>
    <p:sldId id="526" r:id="rId49"/>
    <p:sldId id="527" r:id="rId50"/>
    <p:sldId id="528" r:id="rId51"/>
    <p:sldId id="530" r:id="rId52"/>
    <p:sldId id="531" r:id="rId53"/>
    <p:sldId id="532" r:id="rId54"/>
    <p:sldId id="533" r:id="rId55"/>
    <p:sldId id="534" r:id="rId56"/>
    <p:sldId id="549" r:id="rId57"/>
    <p:sldId id="550" r:id="rId58"/>
    <p:sldId id="538" r:id="rId59"/>
    <p:sldId id="540" r:id="rId60"/>
    <p:sldId id="541" r:id="rId61"/>
    <p:sldId id="543" r:id="rId62"/>
    <p:sldId id="542" r:id="rId63"/>
    <p:sldId id="536" r:id="rId64"/>
    <p:sldId id="537" r:id="rId65"/>
    <p:sldId id="544" r:id="rId66"/>
    <p:sldId id="546" r:id="rId67"/>
    <p:sldId id="545" r:id="rId68"/>
    <p:sldId id="547" r:id="rId69"/>
    <p:sldId id="539" r:id="rId70"/>
    <p:sldId id="529" r:id="rId71"/>
    <p:sldId id="552" r:id="rId72"/>
    <p:sldId id="473" r:id="rId73"/>
    <p:sldId id="554" r:id="rId74"/>
    <p:sldId id="555" r:id="rId75"/>
    <p:sldId id="563" r:id="rId76"/>
    <p:sldId id="559" r:id="rId77"/>
    <p:sldId id="560" r:id="rId78"/>
    <p:sldId id="561" r:id="rId79"/>
    <p:sldId id="564" r:id="rId80"/>
    <p:sldId id="553" r:id="rId81"/>
    <p:sldId id="565" r:id="rId82"/>
    <p:sldId id="571" r:id="rId83"/>
    <p:sldId id="572" r:id="rId84"/>
    <p:sldId id="573" r:id="rId85"/>
    <p:sldId id="574" r:id="rId86"/>
    <p:sldId id="575" r:id="rId87"/>
    <p:sldId id="576" r:id="rId88"/>
    <p:sldId id="577" r:id="rId89"/>
    <p:sldId id="578" r:id="rId90"/>
    <p:sldId id="579" r:id="rId91"/>
    <p:sldId id="581" r:id="rId92"/>
    <p:sldId id="582" r:id="rId93"/>
    <p:sldId id="583" r:id="rId94"/>
    <p:sldId id="584" r:id="rId95"/>
    <p:sldId id="585" r:id="rId96"/>
    <p:sldId id="587" r:id="rId97"/>
    <p:sldId id="589" r:id="rId98"/>
  </p:sldIdLst>
  <p:sldSz cx="9144000" cy="6858000" type="screen4x3"/>
  <p:notesSz cx="7315200" cy="9601200"/>
  <p:custDataLst>
    <p:tags r:id="rId10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D8B00"/>
    <a:srgbClr val="009A44"/>
    <a:srgbClr val="910909"/>
    <a:srgbClr val="000000"/>
    <a:srgbClr val="FFCD00"/>
    <a:srgbClr val="DB291C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99" autoAdjust="0"/>
  </p:normalViewPr>
  <p:slideViewPr>
    <p:cSldViewPr snapToGrid="0" showGuides="1">
      <p:cViewPr>
        <p:scale>
          <a:sx n="66" d="100"/>
          <a:sy n="66" d="100"/>
        </p:scale>
        <p:origin x="2866" y="1138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notesMaster" Target="notesMasters/notesMaster1.xml"/><Relationship Id="rId10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handoutMaster" Target="handoutMasters/handoutMaster1.xml"/><Relationship Id="rId105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9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811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09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515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2468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022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794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6733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0797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5130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761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453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4916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0511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669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3097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7862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6256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13678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5549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3302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0647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381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5473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2103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4926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97384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32927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9335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642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49310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44147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2033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50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5113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0419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88160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0078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16479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62071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05450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3468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1090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90048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96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97560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00788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6618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08892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1105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34738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7438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1116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984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97167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272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72305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96659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81661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91127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42728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12114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78272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41314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39423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700290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5350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6789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13554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81357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1324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475870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7961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0601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83714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329003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129162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7418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55074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40326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199088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2494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888574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87057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93963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36071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355821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072819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362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20458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12677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3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3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2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25" y="499858"/>
            <a:ext cx="162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7" y="1705671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590678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590678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590678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590678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6" y="1590678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2" y="1700213"/>
            <a:ext cx="4587925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7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3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2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25" y="500091"/>
            <a:ext cx="162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4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4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5982793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2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2001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2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5982793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9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91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3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9" y="2125016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5982793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9" y="2125016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90" y="1654031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6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5" y="1665290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5982793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5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9" y="1626102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6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3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2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25" y="499858"/>
            <a:ext cx="162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2426" y="1700213"/>
            <a:ext cx="2720579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9" y="1700216"/>
            <a:ext cx="2729487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2" y="1700215"/>
            <a:ext cx="272772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2426" y="3832225"/>
            <a:ext cx="2720579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9" y="3832227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9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5"/>
            <a:ext cx="4158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5"/>
            <a:ext cx="4158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8" y="1857895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7" y="1863920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5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5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8" y="1857895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4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4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8" y="4249686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2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7" y="1863920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6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3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772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6" y="1851441"/>
            <a:ext cx="272057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8" y="1851441"/>
            <a:ext cx="272176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4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41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5" y="6477004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8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91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9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3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2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25" y="500091"/>
            <a:ext cx="162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0216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705671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71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705671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705671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6477003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76702461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9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 noProof="0" smtClean="0"/>
              <a:t>Clic para editar título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752000" y="6477002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tx1"/>
                </a:solidFill>
              </a:rPr>
              <a:t>Presentation title</a:t>
            </a:r>
            <a:br>
              <a:rPr lang="en-US" sz="488" noProof="0" dirty="0">
                <a:solidFill>
                  <a:schemeClr val="tx1"/>
                </a:solidFill>
              </a:rPr>
            </a:br>
            <a:r>
              <a:rPr lang="en-US" sz="488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52427" y="6477003"/>
            <a:ext cx="4016375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tx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tx1"/>
                </a:solidFill>
              </a:rPr>
            </a:br>
            <a:r>
              <a:rPr lang="en-US" sz="488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6" y="6477003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2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22" userDrawn="1">
          <p15:clr>
            <a:srgbClr val="F26B43"/>
          </p15:clr>
        </p15:guide>
        <p15:guide id="5" pos="5538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3740" userDrawn="1">
          <p15:clr>
            <a:srgbClr val="F26B43"/>
          </p15:clr>
        </p15:guide>
        <p15:guide id="12" pos="1037" userDrawn="1">
          <p15:clr>
            <a:srgbClr val="F26B43"/>
          </p15:clr>
        </p15:guide>
        <p15:guide id="13" pos="1122" userDrawn="1">
          <p15:clr>
            <a:srgbClr val="F26B43"/>
          </p15:clr>
        </p15:guide>
        <p15:guide id="14" pos="1936" userDrawn="1">
          <p15:clr>
            <a:srgbClr val="F26B43"/>
          </p15:clr>
        </p15:guide>
        <p15:guide id="15" pos="2021" userDrawn="1">
          <p15:clr>
            <a:srgbClr val="F26B43"/>
          </p15:clr>
        </p15:guide>
        <p15:guide id="16" pos="4639" userDrawn="1">
          <p15:clr>
            <a:srgbClr val="F26B43"/>
          </p15:clr>
        </p15:guide>
        <p15:guide id="17" pos="2837" userDrawn="1">
          <p15:clr>
            <a:srgbClr val="F26B43"/>
          </p15:clr>
        </p15:guide>
        <p15:guide id="18" pos="2922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2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4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gif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5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8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8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8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pecialist L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Jesús</a:t>
            </a:r>
            <a:r>
              <a:rPr lang="en-US" dirty="0" smtClean="0"/>
              <a:t> Cuesta Arza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79277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460222" y="2538651"/>
            <a:ext cx="1093886" cy="711026"/>
            <a:chOff x="2501056" y="1965"/>
            <a:chExt cx="1093886" cy="711026"/>
          </a:xfrm>
        </p:grpSpPr>
        <p:sp>
          <p:nvSpPr>
            <p:cNvPr id="22" name="Rounded Rectangle 21"/>
            <p:cNvSpPr/>
            <p:nvPr/>
          </p:nvSpPr>
          <p:spPr>
            <a:xfrm>
              <a:off x="2501056" y="1965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4"/>
            <p:cNvSpPr txBox="1"/>
            <p:nvPr/>
          </p:nvSpPr>
          <p:spPr>
            <a:xfrm>
              <a:off x="2535765" y="36674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Entender</a:t>
              </a:r>
              <a:endParaRPr lang="en-US" sz="1100" kern="12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341449" y="2538651"/>
            <a:ext cx="1093886" cy="711026"/>
            <a:chOff x="3951234" y="839226"/>
            <a:chExt cx="1093886" cy="711026"/>
          </a:xfrm>
        </p:grpSpPr>
        <p:sp>
          <p:nvSpPr>
            <p:cNvPr id="20" name="Rounded Rectangle 19"/>
            <p:cNvSpPr/>
            <p:nvPr/>
          </p:nvSpPr>
          <p:spPr>
            <a:xfrm>
              <a:off x="3951234" y="839226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616692"/>
                <a:satOff val="-4233"/>
                <a:lumOff val="8510"/>
                <a:alphaOff val="0"/>
              </a:schemeClr>
            </a:fillRef>
            <a:effectRef idx="3">
              <a:schemeClr val="accent2">
                <a:hueOff val="616692"/>
                <a:satOff val="-4233"/>
                <a:lumOff val="851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ounded Rectangle 6"/>
            <p:cNvSpPr txBox="1"/>
            <p:nvPr/>
          </p:nvSpPr>
          <p:spPr>
            <a:xfrm>
              <a:off x="3985943" y="873935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Aterrizar</a:t>
              </a:r>
              <a:endParaRPr lang="en-US" sz="1100" kern="1200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250514" y="1665586"/>
            <a:ext cx="1093886" cy="711026"/>
            <a:chOff x="3951234" y="2513747"/>
            <a:chExt cx="1093886" cy="711026"/>
          </a:xfrm>
        </p:grpSpPr>
        <p:sp>
          <p:nvSpPr>
            <p:cNvPr id="18" name="Rounded Rectangle 17"/>
            <p:cNvSpPr/>
            <p:nvPr/>
          </p:nvSpPr>
          <p:spPr>
            <a:xfrm>
              <a:off x="3951234" y="2513747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1233385"/>
                <a:satOff val="-8466"/>
                <a:lumOff val="17021"/>
                <a:alphaOff val="0"/>
              </a:schemeClr>
            </a:fillRef>
            <a:effectRef idx="3">
              <a:schemeClr val="accent2">
                <a:hueOff val="1233385"/>
                <a:satOff val="-8466"/>
                <a:lumOff val="17021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ounded Rectangle 8"/>
            <p:cNvSpPr txBox="1"/>
            <p:nvPr/>
          </p:nvSpPr>
          <p:spPr>
            <a:xfrm>
              <a:off x="3985943" y="2548456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Prototipar</a:t>
              </a:r>
              <a:endParaRPr lang="en-US" sz="1100" kern="12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215805" y="3588444"/>
            <a:ext cx="1093886" cy="711026"/>
            <a:chOff x="2501056" y="3351008"/>
            <a:chExt cx="1093886" cy="711026"/>
          </a:xfrm>
        </p:grpSpPr>
        <p:sp>
          <p:nvSpPr>
            <p:cNvPr id="16" name="Rounded Rectangle 15"/>
            <p:cNvSpPr/>
            <p:nvPr/>
          </p:nvSpPr>
          <p:spPr>
            <a:xfrm>
              <a:off x="2501056" y="3351008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1850077"/>
                <a:satOff val="-12700"/>
                <a:lumOff val="25531"/>
                <a:alphaOff val="0"/>
              </a:schemeClr>
            </a:fillRef>
            <a:effectRef idx="3">
              <a:schemeClr val="accent2">
                <a:hueOff val="1850077"/>
                <a:satOff val="-12700"/>
                <a:lumOff val="25531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ounded Rectangle 11"/>
            <p:cNvSpPr txBox="1"/>
            <p:nvPr/>
          </p:nvSpPr>
          <p:spPr>
            <a:xfrm>
              <a:off x="2535765" y="3385717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Validar</a:t>
              </a:r>
              <a:endParaRPr lang="en-US" sz="1100" kern="12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894535" y="2590342"/>
            <a:ext cx="1093886" cy="711026"/>
            <a:chOff x="1050878" y="2513747"/>
            <a:chExt cx="1093886" cy="711026"/>
          </a:xfrm>
        </p:grpSpPr>
        <p:sp>
          <p:nvSpPr>
            <p:cNvPr id="14" name="Rounded Rectangle 13"/>
            <p:cNvSpPr/>
            <p:nvPr/>
          </p:nvSpPr>
          <p:spPr>
            <a:xfrm>
              <a:off x="1050878" y="2513747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2466770"/>
                <a:satOff val="-16933"/>
                <a:lumOff val="34042"/>
                <a:alphaOff val="0"/>
              </a:schemeClr>
            </a:fillRef>
            <a:effectRef idx="3">
              <a:schemeClr val="accent2">
                <a:hueOff val="2466770"/>
                <a:satOff val="-16933"/>
                <a:lumOff val="3404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13"/>
            <p:cNvSpPr txBox="1"/>
            <p:nvPr/>
          </p:nvSpPr>
          <p:spPr>
            <a:xfrm>
              <a:off x="1085587" y="2548456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Implementar</a:t>
              </a:r>
              <a:endParaRPr lang="en-US" sz="1100" kern="12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458305" y="2590342"/>
            <a:ext cx="1093886" cy="711026"/>
            <a:chOff x="1050878" y="839226"/>
            <a:chExt cx="1093886" cy="711026"/>
          </a:xfrm>
        </p:grpSpPr>
        <p:sp>
          <p:nvSpPr>
            <p:cNvPr id="12" name="Rounded Rectangle 11"/>
            <p:cNvSpPr/>
            <p:nvPr/>
          </p:nvSpPr>
          <p:spPr>
            <a:xfrm>
              <a:off x="1050878" y="839226"/>
              <a:ext cx="1093886" cy="711026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3083462"/>
                <a:satOff val="-21166"/>
                <a:lumOff val="42552"/>
                <a:alphaOff val="0"/>
              </a:schemeClr>
            </a:fillRef>
            <a:effectRef idx="3">
              <a:schemeClr val="accent2">
                <a:hueOff val="3083462"/>
                <a:satOff val="-21166"/>
                <a:lumOff val="4255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ounded Rectangle 15"/>
            <p:cNvSpPr txBox="1"/>
            <p:nvPr/>
          </p:nvSpPr>
          <p:spPr>
            <a:xfrm>
              <a:off x="1085587" y="873935"/>
              <a:ext cx="1024468" cy="6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err="1" smtClean="0"/>
                <a:t>Analizar</a:t>
              </a:r>
              <a:endParaRPr lang="en-US" sz="1100" kern="1200" dirty="0"/>
            </a:p>
          </p:txBody>
        </p:sp>
      </p:grpSp>
      <p:cxnSp>
        <p:nvCxnSpPr>
          <p:cNvPr id="29" name="Straight Arrow Connector 28"/>
          <p:cNvCxnSpPr/>
          <p:nvPr/>
        </p:nvCxnSpPr>
        <p:spPr>
          <a:xfrm>
            <a:off x="1709530" y="2894164"/>
            <a:ext cx="569844" cy="0"/>
          </a:xfrm>
          <a:prstGeom prst="straightConnector1">
            <a:avLst/>
          </a:prstGeom>
          <a:ln>
            <a:solidFill>
              <a:srgbClr val="046A3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3574688" y="2080016"/>
            <a:ext cx="580237" cy="696315"/>
          </a:xfrm>
          <a:prstGeom prst="straightConnector1">
            <a:avLst/>
          </a:prstGeom>
          <a:ln>
            <a:solidFill>
              <a:srgbClr val="009A4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4962939" y="2538651"/>
            <a:ext cx="46383" cy="827401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V="1">
            <a:off x="4529221" y="2599004"/>
            <a:ext cx="59422" cy="801757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5423125" y="3106749"/>
            <a:ext cx="394211" cy="636990"/>
          </a:xfrm>
          <a:prstGeom prst="straightConnector1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7070035" y="2952351"/>
            <a:ext cx="298174" cy="0"/>
          </a:xfrm>
          <a:prstGeom prst="straightConnector1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9470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2528888"/>
            <a:ext cx="9144000" cy="3770315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CONTEXTO</a:t>
            </a:r>
            <a:endParaRPr lang="en-US" sz="4000" noProof="0" dirty="0"/>
          </a:p>
        </p:txBody>
      </p:sp>
    </p:spTree>
    <p:extLst>
      <p:ext uri="{BB962C8B-B14F-4D97-AF65-F5344CB8AC3E}">
        <p14:creationId xmlns:p14="http://schemas.microsoft.com/office/powerpoint/2010/main" val="159195830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/>
              <a:t/>
            </a:r>
            <a:br>
              <a:rPr lang="en-US" sz="2400" i="1" dirty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/>
              <a:t/>
            </a:r>
            <a:br>
              <a:rPr lang="en-US" sz="5400" i="1" dirty="0"/>
            </a:br>
            <a:r>
              <a:rPr lang="es-ES" sz="2400" i="1" dirty="0" smtClean="0"/>
              <a:t>”Una </a:t>
            </a:r>
            <a:r>
              <a:rPr lang="es-ES" sz="2400" i="1" dirty="0"/>
              <a:t>de cada cinco </a:t>
            </a:r>
            <a:r>
              <a:rPr lang="es-ES" sz="2400" i="1" dirty="0" smtClean="0"/>
              <a:t>búsquedas</a:t>
            </a:r>
            <a:br>
              <a:rPr lang="es-ES" sz="2400" i="1" dirty="0" smtClean="0"/>
            </a:br>
            <a:r>
              <a:rPr lang="es-ES" sz="2400" i="1" dirty="0" smtClean="0"/>
              <a:t>ya </a:t>
            </a:r>
            <a:r>
              <a:rPr lang="es-ES" sz="2400" i="1" dirty="0"/>
              <a:t>se realiza mediante </a:t>
            </a:r>
            <a:r>
              <a:rPr lang="es-ES" sz="2400" i="1" dirty="0" smtClean="0"/>
              <a:t>voz”</a:t>
            </a:r>
            <a:br>
              <a:rPr lang="es-ES" sz="2400" i="1" dirty="0" smtClean="0"/>
            </a:br>
            <a:r>
              <a:rPr lang="es-ES" sz="2400" b="1" dirty="0" smtClean="0"/>
              <a:t>Google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558092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 smtClean="0"/>
              <a:t/>
            </a:r>
            <a:br>
              <a:rPr lang="en-US" sz="5400" i="1" dirty="0" smtClean="0"/>
            </a:br>
            <a:r>
              <a:rPr lang="es-ES" sz="2400" i="1" dirty="0"/>
              <a:t>” Más de 7.500 millones de dispositivos en </a:t>
            </a:r>
            <a:r>
              <a:rPr lang="es-ES" sz="2400" i="1" dirty="0" smtClean="0"/>
              <a:t>2021”</a:t>
            </a:r>
            <a:br>
              <a:rPr lang="es-ES" sz="2400" i="1" dirty="0" smtClean="0"/>
            </a:br>
            <a:r>
              <a:rPr lang="es-ES" sz="2400" b="1" dirty="0" smtClean="0"/>
              <a:t>OVUM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2468809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 smtClean="0"/>
              <a:t/>
            </a:r>
            <a:br>
              <a:rPr lang="en-US" sz="5400" i="1" dirty="0" smtClean="0"/>
            </a:br>
            <a:r>
              <a:rPr lang="es-ES" sz="2400" i="1" dirty="0"/>
              <a:t>” 100 millones </a:t>
            </a:r>
            <a:r>
              <a:rPr lang="es-ES" sz="2400" i="1" dirty="0" smtClean="0"/>
              <a:t>vendidos”</a:t>
            </a:r>
            <a:br>
              <a:rPr lang="es-ES" sz="2400" i="1" dirty="0" smtClean="0"/>
            </a:br>
            <a:r>
              <a:rPr lang="es-ES" sz="2400" b="1" dirty="0" smtClean="0"/>
              <a:t>al </a:t>
            </a:r>
            <a:r>
              <a:rPr lang="es-ES" sz="2400" b="1" dirty="0"/>
              <a:t>finalizar </a:t>
            </a:r>
            <a:r>
              <a:rPr lang="es-ES" sz="2400" b="1" dirty="0" smtClean="0"/>
              <a:t>2018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26036035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 smtClean="0"/>
              <a:t/>
            </a:r>
            <a:br>
              <a:rPr lang="en-US" sz="5400" i="1" dirty="0" smtClean="0"/>
            </a:br>
            <a:r>
              <a:rPr lang="es-ES" sz="2400" i="1" dirty="0" smtClean="0"/>
              <a:t>Amazon Líder (32</a:t>
            </a:r>
            <a:r>
              <a:rPr lang="es-ES" sz="2400" i="1" dirty="0"/>
              <a:t>% de </a:t>
            </a:r>
            <a:r>
              <a:rPr lang="es-ES" sz="2400" i="1" dirty="0" smtClean="0"/>
              <a:t>cuota)</a:t>
            </a:r>
            <a:br>
              <a:rPr lang="es-ES" sz="2400" i="1" dirty="0" smtClean="0"/>
            </a:br>
            <a:r>
              <a:rPr lang="es-ES" sz="2400" i="1" dirty="0" smtClean="0"/>
              <a:t>Segundo está </a:t>
            </a:r>
            <a:r>
              <a:rPr lang="es-ES" sz="2400" i="1" dirty="0"/>
              <a:t>Google </a:t>
            </a:r>
            <a:r>
              <a:rPr lang="es-ES" sz="2400" i="1" dirty="0" smtClean="0"/>
              <a:t>(23%)</a:t>
            </a:r>
            <a:br>
              <a:rPr lang="es-ES" sz="2400" i="1" dirty="0" smtClean="0"/>
            </a:br>
            <a:r>
              <a:rPr lang="es-ES" sz="2400" b="1" dirty="0" smtClean="0"/>
              <a:t>Q3 </a:t>
            </a:r>
            <a:r>
              <a:rPr lang="es-ES" sz="2400" b="1" dirty="0"/>
              <a:t>de 2018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732338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 smtClean="0"/>
              <a:t/>
            </a:r>
            <a:br>
              <a:rPr lang="en-US" sz="5400" i="1" dirty="0" smtClean="0"/>
            </a:br>
            <a:r>
              <a:rPr lang="es-ES" sz="2400" i="1" dirty="0" smtClean="0"/>
              <a:t>10’7% En España</a:t>
            </a:r>
            <a:br>
              <a:rPr lang="es-ES" sz="2400" i="1" dirty="0" smtClean="0"/>
            </a:br>
            <a:r>
              <a:rPr lang="es-ES" sz="2400" i="1" dirty="0" smtClean="0"/>
              <a:t>4300K Hogares</a:t>
            </a:r>
            <a:br>
              <a:rPr lang="es-ES" sz="2400" i="1" dirty="0" smtClean="0"/>
            </a:br>
            <a:r>
              <a:rPr lang="es-ES" sz="2400" b="1" dirty="0" smtClean="0"/>
              <a:t>Q2 </a:t>
            </a:r>
            <a:r>
              <a:rPr lang="es-ES" sz="2400" b="1" dirty="0"/>
              <a:t>de </a:t>
            </a:r>
            <a:r>
              <a:rPr lang="es-ES" sz="2400" b="1" dirty="0" smtClean="0"/>
              <a:t>2019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3443651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99712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5687496"/>
          </a:xfrm>
        </p:spPr>
        <p:txBody>
          <a:bodyPr/>
          <a:lstStyle/>
          <a:p>
            <a:pPr algn="ctr"/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2400" i="1" dirty="0" smtClean="0"/>
              <a:t/>
            </a:r>
            <a:br>
              <a:rPr lang="en-US" sz="2400" i="1" dirty="0" smtClean="0"/>
            </a:br>
            <a:r>
              <a:rPr lang="en-US" sz="5400" i="1" dirty="0" smtClean="0"/>
              <a:t/>
            </a:r>
            <a:br>
              <a:rPr lang="en-US" sz="5400" i="1" dirty="0" smtClean="0"/>
            </a:br>
            <a:r>
              <a:rPr lang="es-ES" sz="2400" i="1" dirty="0" smtClean="0"/>
              <a:t>Android &amp; Google </a:t>
            </a:r>
            <a:r>
              <a:rPr lang="es-ES" sz="2400" i="1" dirty="0" err="1" smtClean="0"/>
              <a:t>Assistant</a:t>
            </a:r>
            <a:r>
              <a:rPr lang="es-ES" sz="2400" i="1" dirty="0" smtClean="0"/>
              <a:t> (51% )</a:t>
            </a:r>
            <a:br>
              <a:rPr lang="es-ES" sz="2400" i="1" dirty="0" smtClean="0"/>
            </a:br>
            <a:r>
              <a:rPr lang="es-ES" sz="2400" i="1" dirty="0" err="1" smtClean="0"/>
              <a:t>Siri</a:t>
            </a:r>
            <a:r>
              <a:rPr lang="es-ES" sz="2400" i="1" dirty="0" smtClean="0"/>
              <a:t>(31%)</a:t>
            </a:r>
            <a:br>
              <a:rPr lang="es-ES" sz="2400" i="1" dirty="0" smtClean="0"/>
            </a:br>
            <a:r>
              <a:rPr lang="es-ES" sz="2400" b="1" dirty="0" smtClean="0"/>
              <a:t>2019</a:t>
            </a:r>
            <a:endParaRPr lang="en-US" sz="5400" b="1" noProof="0" dirty="0"/>
          </a:p>
        </p:txBody>
      </p:sp>
    </p:spTree>
    <p:extLst>
      <p:ext uri="{BB962C8B-B14F-4D97-AF65-F5344CB8AC3E}">
        <p14:creationId xmlns:p14="http://schemas.microsoft.com/office/powerpoint/2010/main" val="15674881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7215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9063" y="277143"/>
            <a:ext cx="417293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/>
                <a:pattFill prst="dkUpDiag">
                  <a:fgClr>
                    <a:schemeClr val="bg1">
                      <a:lumMod val="50000"/>
                    </a:schemeClr>
                  </a:fgClr>
                  <a:bgClr>
                    <a:schemeClr val="tx1">
                      <a:lumMod val="75000"/>
                      <a:lumOff val="25000"/>
                    </a:schemeClr>
                  </a:bgClr>
                </a:patt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For What?</a:t>
            </a:r>
            <a:endParaRPr lang="en-US" sz="5400" b="1" cap="none" spc="0" dirty="0">
              <a:ln/>
              <a:pattFill prst="dkUpDiag">
                <a:fgClr>
                  <a:schemeClr val="bg1">
                    <a:lumMod val="50000"/>
                  </a:schemeClr>
                </a:fgClr>
                <a:bgClr>
                  <a:schemeClr val="tx1">
                    <a:lumMod val="75000"/>
                    <a:lumOff val="25000"/>
                  </a:schemeClr>
                </a:bgClr>
              </a:patt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3861484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s-ES" sz="2100" b="1" dirty="0"/>
              <a:t>UX </a:t>
            </a:r>
            <a:r>
              <a:rPr lang="es-ES" sz="2100" b="1" dirty="0" err="1"/>
              <a:t>Testing</a:t>
            </a:r>
            <a:r>
              <a:rPr lang="es-ES" sz="2100" b="1" dirty="0"/>
              <a:t> </a:t>
            </a:r>
            <a:r>
              <a:rPr lang="es-ES" sz="2100" b="1" dirty="0" err="1"/>
              <a:t>Voice</a:t>
            </a:r>
            <a:r>
              <a:rPr lang="es-ES" sz="2100" b="1" dirty="0"/>
              <a:t/>
            </a:r>
            <a:br>
              <a:rPr lang="es-ES" sz="2100" b="1" dirty="0"/>
            </a:br>
            <a:r>
              <a:rPr lang="es-ES" sz="2100" b="1" dirty="0" err="1"/>
              <a:t>Assistants</a:t>
            </a:r>
            <a:endParaRPr lang="es-ES" sz="21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pecialist L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Jesús</a:t>
            </a:r>
            <a:r>
              <a:rPr lang="en-US" dirty="0" smtClean="0"/>
              <a:t> Cuesta Arza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45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21965" y="251647"/>
            <a:ext cx="571983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Ask Questions</a:t>
            </a:r>
            <a:endParaRPr lang="en-US" sz="54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057403" y="1174977"/>
            <a:ext cx="204895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91%</a:t>
            </a:r>
            <a:endParaRPr lang="en-US" sz="54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1937308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36370" y="356656"/>
            <a:ext cx="238879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Music</a:t>
            </a:r>
            <a:endParaRPr lang="en-US" sz="5400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9174" y="1174977"/>
            <a:ext cx="204895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89%</a:t>
            </a:r>
            <a:endParaRPr lang="en-US" sz="5400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9963705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03395" y="356656"/>
            <a:ext cx="350288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Weather</a:t>
            </a:r>
            <a:endParaRPr lang="en-US" sz="5400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46922" y="1174977"/>
            <a:ext cx="214685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85%</a:t>
            </a:r>
            <a:endParaRPr lang="en-US" sz="5400" b="1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64781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055825" cy="5090073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055824" y="993913"/>
            <a:ext cx="4088175" cy="3313044"/>
          </a:xfrm>
        </p:spPr>
        <p:txBody>
          <a:bodyPr/>
          <a:lstStyle/>
          <a:p>
            <a:pPr algn="ctr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3600" dirty="0" smtClean="0"/>
              <a:t>Options?</a:t>
            </a:r>
            <a:endParaRPr lang="en-US" sz="3600" noProof="0" dirty="0"/>
          </a:p>
        </p:txBody>
      </p:sp>
    </p:spTree>
    <p:extLst>
      <p:ext uri="{BB962C8B-B14F-4D97-AF65-F5344CB8AC3E}">
        <p14:creationId xmlns:p14="http://schemas.microsoft.com/office/powerpoint/2010/main" val="1039738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50" y="517664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034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8290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340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23736"/>
          </a:xfrm>
          <a:prstGeom prst="rect">
            <a:avLst/>
          </a:prstGeom>
        </p:spPr>
      </p:pic>
      <p:sp>
        <p:nvSpPr>
          <p:cNvPr id="6" name="Title 6"/>
          <p:cNvSpPr txBox="1">
            <a:spLocks/>
          </p:cNvSpPr>
          <p:nvPr/>
        </p:nvSpPr>
        <p:spPr bwMode="gray">
          <a:xfrm>
            <a:off x="5055824" y="1"/>
            <a:ext cx="4088175" cy="2226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spcBef>
                <a:spcPct val="0"/>
              </a:spcBef>
              <a:buNone/>
              <a:defRPr sz="1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/>
            </a:r>
            <a:br>
              <a:rPr lang="en-US" sz="1800" dirty="0" smtClean="0">
                <a:solidFill>
                  <a:schemeClr val="bg1"/>
                </a:solidFill>
              </a:rPr>
            </a:br>
            <a:r>
              <a:rPr lang="en-US" sz="4400" dirty="0" smtClean="0">
                <a:solidFill>
                  <a:schemeClr val="bg1"/>
                </a:solidFill>
              </a:rPr>
              <a:t>Develop</a:t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US" sz="3200" dirty="0" smtClean="0">
                <a:solidFill>
                  <a:schemeClr val="bg1"/>
                </a:solidFill>
              </a:rPr>
              <a:t>Possibiliti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472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Resultado de imagen de goog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409" y="1332464"/>
            <a:ext cx="3048000" cy="1066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 descr="Resultado de imagen de appl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429" y="900733"/>
            <a:ext cx="1498531" cy="149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 descr="Resultado de imagen de samsung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2574" y="3246291"/>
            <a:ext cx="3094382" cy="1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8" name="Picture 14" descr="Resultado de imagen de mycroft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272" y="3021494"/>
            <a:ext cx="1988847" cy="1988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0360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UX</a:t>
            </a:r>
            <a:endParaRPr lang="en-US" sz="4000" noProof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92" y="906703"/>
            <a:ext cx="3479016" cy="352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5892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pecialist L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Jesús</a:t>
            </a:r>
            <a:r>
              <a:rPr lang="en-US" dirty="0" smtClean="0"/>
              <a:t> Cuesta Arza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550" y="1743075"/>
            <a:ext cx="7200900" cy="33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47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10116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4339" y="0"/>
            <a:ext cx="624562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Communication</a:t>
            </a:r>
            <a:endParaRPr lang="en-US" sz="54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3684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988364" y="993913"/>
            <a:ext cx="1802295" cy="369332"/>
          </a:xfrm>
          <a:prstGeom prst="rect">
            <a:avLst/>
          </a:prstGeom>
          <a:solidFill>
            <a:srgbClr val="009A44">
              <a:alpha val="85882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dirty="0" smtClean="0"/>
              <a:t>Emisor</a:t>
            </a:r>
            <a:endParaRPr lang="es-E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6619459" y="2988365"/>
            <a:ext cx="1802295" cy="369332"/>
          </a:xfrm>
          <a:prstGeom prst="rect">
            <a:avLst/>
          </a:prstGeom>
          <a:solidFill>
            <a:srgbClr val="009A44">
              <a:alpha val="85882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dirty="0" smtClean="0"/>
              <a:t>Receptor</a:t>
            </a:r>
            <a:endParaRPr lang="es-ES" dirty="0" smtClean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4572000" y="2067339"/>
            <a:ext cx="2047459" cy="417444"/>
          </a:xfrm>
          <a:prstGeom prst="straightConnector1">
            <a:avLst/>
          </a:prstGeom>
          <a:ln w="57150">
            <a:solidFill>
              <a:srgbClr val="009A44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 rot="769089">
            <a:off x="4759909" y="2346283"/>
            <a:ext cx="1671638" cy="276999"/>
          </a:xfrm>
          <a:prstGeom prst="rect">
            <a:avLst/>
          </a:prstGeom>
          <a:solidFill>
            <a:srgbClr val="009A44">
              <a:alpha val="85882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sz="1800" dirty="0" smtClean="0"/>
              <a:t>Mensaje</a:t>
            </a:r>
            <a:endParaRPr lang="es-ES" dirty="0" smtClean="0"/>
          </a:p>
        </p:txBody>
      </p:sp>
      <p:sp>
        <p:nvSpPr>
          <p:cNvPr id="13" name="Oval 12"/>
          <p:cNvSpPr/>
          <p:nvPr/>
        </p:nvSpPr>
        <p:spPr bwMode="gray">
          <a:xfrm>
            <a:off x="5400261" y="190467"/>
            <a:ext cx="1729409" cy="1278835"/>
          </a:xfrm>
          <a:prstGeom prst="ellipse">
            <a:avLst/>
          </a:prstGeom>
          <a:solidFill>
            <a:srgbClr val="ED8B00">
              <a:alpha val="8902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63817" y="570622"/>
            <a:ext cx="18022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dirty="0" smtClean="0"/>
              <a:t>Canal</a:t>
            </a:r>
            <a:endParaRPr lang="es-ES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1225826" y="2497170"/>
            <a:ext cx="1802295" cy="369332"/>
          </a:xfrm>
          <a:prstGeom prst="rect">
            <a:avLst/>
          </a:prstGeom>
          <a:solidFill>
            <a:srgbClr val="FF0000">
              <a:alpha val="80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dirty="0" smtClean="0"/>
              <a:t>Ruido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0692918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11" grpId="0" animBg="1"/>
      <p:bldP spid="13" grpId="0" animBg="1"/>
      <p:bldP spid="14" grpId="0"/>
      <p:bldP spid="1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1524633" y="1014605"/>
            <a:ext cx="1858150" cy="464537"/>
            <a:chOff x="632" y="799816"/>
            <a:chExt cx="1858150" cy="464537"/>
          </a:xfrm>
        </p:grpSpPr>
        <p:sp>
          <p:nvSpPr>
            <p:cNvPr id="34" name="Rounded Rectangle 33"/>
            <p:cNvSpPr/>
            <p:nvPr/>
          </p:nvSpPr>
          <p:spPr>
            <a:xfrm>
              <a:off x="632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ounded Rectangle 4"/>
            <p:cNvSpPr txBox="1"/>
            <p:nvPr/>
          </p:nvSpPr>
          <p:spPr>
            <a:xfrm>
              <a:off x="14238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Emisor</a:t>
              </a:r>
              <a:endParaRPr lang="en-US" sz="2600" kern="1200" dirty="0"/>
            </a:p>
          </p:txBody>
        </p:sp>
      </p:grpSp>
      <p:sp>
        <p:nvSpPr>
          <p:cNvPr id="16" name="Right Arrow 15"/>
          <p:cNvSpPr/>
          <p:nvPr/>
        </p:nvSpPr>
        <p:spPr>
          <a:xfrm rot="5400000">
            <a:off x="2413062" y="1519789"/>
            <a:ext cx="81294" cy="81294"/>
          </a:xfrm>
          <a:prstGeom prst="rightArrow">
            <a:avLst>
              <a:gd name="adj1" fmla="val 667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7" name="Group 16"/>
          <p:cNvGrpSpPr/>
          <p:nvPr/>
        </p:nvGrpSpPr>
        <p:grpSpPr>
          <a:xfrm>
            <a:off x="1524633" y="1641731"/>
            <a:ext cx="1858150" cy="464537"/>
            <a:chOff x="632" y="1426942"/>
            <a:chExt cx="1858150" cy="464537"/>
          </a:xfrm>
        </p:grpSpPr>
        <p:sp>
          <p:nvSpPr>
            <p:cNvPr id="32" name="Rounded Rectangle 31"/>
            <p:cNvSpPr/>
            <p:nvPr/>
          </p:nvSpPr>
          <p:spPr>
            <a:xfrm>
              <a:off x="632" y="1426942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3" name="Rounded Rectangle 7"/>
            <p:cNvSpPr txBox="1"/>
            <p:nvPr/>
          </p:nvSpPr>
          <p:spPr>
            <a:xfrm>
              <a:off x="14238" y="1440548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Quién</a:t>
              </a:r>
              <a:endParaRPr lang="en-US" sz="2600" kern="1200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642925" y="1014605"/>
            <a:ext cx="1858150" cy="464537"/>
            <a:chOff x="2118924" y="799816"/>
            <a:chExt cx="1858150" cy="464537"/>
          </a:xfrm>
        </p:grpSpPr>
        <p:sp>
          <p:nvSpPr>
            <p:cNvPr id="30" name="Rounded Rectangle 29"/>
            <p:cNvSpPr/>
            <p:nvPr/>
          </p:nvSpPr>
          <p:spPr>
            <a:xfrm>
              <a:off x="2118924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9"/>
            <p:cNvSpPr txBox="1"/>
            <p:nvPr/>
          </p:nvSpPr>
          <p:spPr>
            <a:xfrm>
              <a:off x="2132530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Mensaje</a:t>
              </a:r>
              <a:endParaRPr lang="en-US" sz="2600" kern="1200" dirty="0"/>
            </a:p>
          </p:txBody>
        </p:sp>
      </p:grpSp>
      <p:sp>
        <p:nvSpPr>
          <p:cNvPr id="19" name="Right Arrow 18"/>
          <p:cNvSpPr/>
          <p:nvPr/>
        </p:nvSpPr>
        <p:spPr>
          <a:xfrm rot="5400000">
            <a:off x="4531353" y="1519789"/>
            <a:ext cx="81294" cy="81294"/>
          </a:xfrm>
          <a:prstGeom prst="rightArrow">
            <a:avLst>
              <a:gd name="adj1" fmla="val 667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0" name="Group 19"/>
          <p:cNvGrpSpPr/>
          <p:nvPr/>
        </p:nvGrpSpPr>
        <p:grpSpPr>
          <a:xfrm>
            <a:off x="3642925" y="1641731"/>
            <a:ext cx="1858150" cy="464537"/>
            <a:chOff x="2118924" y="1426942"/>
            <a:chExt cx="1858150" cy="464537"/>
          </a:xfrm>
        </p:grpSpPr>
        <p:sp>
          <p:nvSpPr>
            <p:cNvPr id="28" name="Rounded Rectangle 27"/>
            <p:cNvSpPr/>
            <p:nvPr/>
          </p:nvSpPr>
          <p:spPr>
            <a:xfrm>
              <a:off x="2118924" y="1426942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Rounded Rectangle 12"/>
            <p:cNvSpPr txBox="1"/>
            <p:nvPr/>
          </p:nvSpPr>
          <p:spPr>
            <a:xfrm>
              <a:off x="2132530" y="1440548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Qué</a:t>
              </a:r>
              <a:endParaRPr lang="en-US" sz="2600" kern="1200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761217" y="1014605"/>
            <a:ext cx="1858150" cy="464537"/>
            <a:chOff x="4237216" y="799816"/>
            <a:chExt cx="1858150" cy="464537"/>
          </a:xfrm>
        </p:grpSpPr>
        <p:sp>
          <p:nvSpPr>
            <p:cNvPr id="26" name="Rounded Rectangle 25"/>
            <p:cNvSpPr/>
            <p:nvPr/>
          </p:nvSpPr>
          <p:spPr>
            <a:xfrm>
              <a:off x="4237216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ounded Rectangle 14"/>
            <p:cNvSpPr txBox="1"/>
            <p:nvPr/>
          </p:nvSpPr>
          <p:spPr>
            <a:xfrm>
              <a:off x="4250822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smtClean="0"/>
                <a:t>Receptor</a:t>
              </a:r>
              <a:endParaRPr lang="en-US" sz="2600" kern="1200" dirty="0"/>
            </a:p>
          </p:txBody>
        </p:sp>
      </p:grpSp>
      <p:sp>
        <p:nvSpPr>
          <p:cNvPr id="22" name="Right Arrow 21"/>
          <p:cNvSpPr/>
          <p:nvPr/>
        </p:nvSpPr>
        <p:spPr>
          <a:xfrm rot="5400000">
            <a:off x="6649645" y="1519789"/>
            <a:ext cx="81294" cy="81294"/>
          </a:xfrm>
          <a:prstGeom prst="rightArrow">
            <a:avLst>
              <a:gd name="adj1" fmla="val 667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3" name="Group 22"/>
          <p:cNvGrpSpPr/>
          <p:nvPr/>
        </p:nvGrpSpPr>
        <p:grpSpPr>
          <a:xfrm>
            <a:off x="5761217" y="1641731"/>
            <a:ext cx="1858150" cy="464537"/>
            <a:chOff x="4237216" y="1426942"/>
            <a:chExt cx="1858150" cy="464537"/>
          </a:xfrm>
        </p:grpSpPr>
        <p:sp>
          <p:nvSpPr>
            <p:cNvPr id="24" name="Rounded Rectangle 23"/>
            <p:cNvSpPr/>
            <p:nvPr/>
          </p:nvSpPr>
          <p:spPr>
            <a:xfrm>
              <a:off x="4237216" y="1426942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Rounded Rectangle 17"/>
            <p:cNvSpPr txBox="1"/>
            <p:nvPr/>
          </p:nvSpPr>
          <p:spPr>
            <a:xfrm>
              <a:off x="4250822" y="1440548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smtClean="0"/>
                <a:t>A </a:t>
              </a:r>
              <a:r>
                <a:rPr lang="en-US" sz="2600" kern="1200" dirty="0" err="1" smtClean="0"/>
                <a:t>Qué</a:t>
              </a:r>
              <a:endParaRPr lang="en-US" sz="2600" kern="1200" dirty="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524633" y="2883168"/>
            <a:ext cx="1858150" cy="464537"/>
            <a:chOff x="632" y="799816"/>
            <a:chExt cx="1858150" cy="464537"/>
          </a:xfrm>
        </p:grpSpPr>
        <p:sp>
          <p:nvSpPr>
            <p:cNvPr id="51" name="Rounded Rectangle 50"/>
            <p:cNvSpPr/>
            <p:nvPr/>
          </p:nvSpPr>
          <p:spPr>
            <a:xfrm>
              <a:off x="632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Rounded Rectangle 4"/>
            <p:cNvSpPr txBox="1"/>
            <p:nvPr/>
          </p:nvSpPr>
          <p:spPr>
            <a:xfrm>
              <a:off x="14238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smtClean="0"/>
                <a:t>Canal</a:t>
              </a:r>
              <a:endParaRPr lang="en-US" sz="2600" kern="1200" dirty="0"/>
            </a:p>
          </p:txBody>
        </p:sp>
      </p:grpSp>
      <p:sp>
        <p:nvSpPr>
          <p:cNvPr id="37" name="Right Arrow 36"/>
          <p:cNvSpPr/>
          <p:nvPr/>
        </p:nvSpPr>
        <p:spPr>
          <a:xfrm rot="5400000">
            <a:off x="2413062" y="3388352"/>
            <a:ext cx="81294" cy="81294"/>
          </a:xfrm>
          <a:prstGeom prst="rightArrow">
            <a:avLst>
              <a:gd name="adj1" fmla="val 667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8" name="Group 37"/>
          <p:cNvGrpSpPr/>
          <p:nvPr/>
        </p:nvGrpSpPr>
        <p:grpSpPr>
          <a:xfrm>
            <a:off x="1524633" y="3510294"/>
            <a:ext cx="1858150" cy="464537"/>
            <a:chOff x="632" y="1426942"/>
            <a:chExt cx="1858150" cy="464537"/>
          </a:xfrm>
        </p:grpSpPr>
        <p:sp>
          <p:nvSpPr>
            <p:cNvPr id="49" name="Rounded Rectangle 48"/>
            <p:cNvSpPr/>
            <p:nvPr/>
          </p:nvSpPr>
          <p:spPr>
            <a:xfrm>
              <a:off x="632" y="1426942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Rounded Rectangle 7"/>
            <p:cNvSpPr txBox="1"/>
            <p:nvPr/>
          </p:nvSpPr>
          <p:spPr>
            <a:xfrm>
              <a:off x="14238" y="1440548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err="1" smtClean="0"/>
                <a:t>Cómo</a:t>
              </a:r>
              <a:endParaRPr lang="en-US" sz="2000" kern="1200" dirty="0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642925" y="2883168"/>
            <a:ext cx="1858150" cy="464537"/>
            <a:chOff x="2118924" y="799816"/>
            <a:chExt cx="1858150" cy="464537"/>
          </a:xfrm>
        </p:grpSpPr>
        <p:sp>
          <p:nvSpPr>
            <p:cNvPr id="47" name="Rounded Rectangle 46"/>
            <p:cNvSpPr/>
            <p:nvPr/>
          </p:nvSpPr>
          <p:spPr>
            <a:xfrm>
              <a:off x="2118924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ounded Rectangle 9"/>
            <p:cNvSpPr txBox="1"/>
            <p:nvPr/>
          </p:nvSpPr>
          <p:spPr>
            <a:xfrm>
              <a:off x="2132530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Ruido</a:t>
              </a:r>
              <a:endParaRPr lang="en-US" sz="2600" kern="1200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761217" y="2883168"/>
            <a:ext cx="1858150" cy="464537"/>
            <a:chOff x="4237216" y="799816"/>
            <a:chExt cx="1858150" cy="464537"/>
          </a:xfrm>
        </p:grpSpPr>
        <p:sp>
          <p:nvSpPr>
            <p:cNvPr id="45" name="Rounded Rectangle 44"/>
            <p:cNvSpPr/>
            <p:nvPr/>
          </p:nvSpPr>
          <p:spPr>
            <a:xfrm>
              <a:off x="4237216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ounded Rectangle 11"/>
            <p:cNvSpPr txBox="1"/>
            <p:nvPr/>
          </p:nvSpPr>
          <p:spPr>
            <a:xfrm>
              <a:off x="4250822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smtClean="0"/>
                <a:t>Lugar</a:t>
              </a:r>
              <a:endParaRPr lang="en-US" sz="2600" kern="1200" dirty="0"/>
            </a:p>
          </p:txBody>
        </p:sp>
      </p:grpSp>
      <p:sp>
        <p:nvSpPr>
          <p:cNvPr id="41" name="Right Arrow 40"/>
          <p:cNvSpPr/>
          <p:nvPr/>
        </p:nvSpPr>
        <p:spPr>
          <a:xfrm rot="5400000">
            <a:off x="6649645" y="3388352"/>
            <a:ext cx="81294" cy="81294"/>
          </a:xfrm>
          <a:prstGeom prst="rightArrow">
            <a:avLst>
              <a:gd name="adj1" fmla="val 667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42" name="Group 41"/>
          <p:cNvGrpSpPr/>
          <p:nvPr/>
        </p:nvGrpSpPr>
        <p:grpSpPr>
          <a:xfrm>
            <a:off x="5761217" y="3510294"/>
            <a:ext cx="1858150" cy="464537"/>
            <a:chOff x="4237216" y="1426942"/>
            <a:chExt cx="1858150" cy="464537"/>
          </a:xfrm>
        </p:grpSpPr>
        <p:sp>
          <p:nvSpPr>
            <p:cNvPr id="43" name="Rounded Rectangle 42"/>
            <p:cNvSpPr/>
            <p:nvPr/>
          </p:nvSpPr>
          <p:spPr>
            <a:xfrm>
              <a:off x="4237216" y="1426942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Rounded Rectangle 14"/>
            <p:cNvSpPr txBox="1"/>
            <p:nvPr/>
          </p:nvSpPr>
          <p:spPr>
            <a:xfrm>
              <a:off x="4250822" y="1440548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err="1" smtClean="0"/>
                <a:t>Desde</a:t>
              </a:r>
              <a:r>
                <a:rPr lang="en-US" sz="2000" kern="1200" dirty="0" smtClean="0"/>
                <a:t> </a:t>
              </a:r>
              <a:r>
                <a:rPr lang="en-US" sz="2000" kern="1200" dirty="0" err="1" smtClean="0"/>
                <a:t>Dónde</a:t>
              </a:r>
              <a:endParaRPr lang="en-US" sz="2000" kern="1200" dirty="0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801864" y="4814173"/>
            <a:ext cx="1858150" cy="464537"/>
            <a:chOff x="4237216" y="799816"/>
            <a:chExt cx="1858150" cy="464537"/>
          </a:xfrm>
        </p:grpSpPr>
        <p:sp>
          <p:nvSpPr>
            <p:cNvPr id="54" name="Rounded Rectangle 53"/>
            <p:cNvSpPr/>
            <p:nvPr/>
          </p:nvSpPr>
          <p:spPr>
            <a:xfrm>
              <a:off x="4237216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Rounded Rectangle 11"/>
            <p:cNvSpPr txBox="1"/>
            <p:nvPr/>
          </p:nvSpPr>
          <p:spPr>
            <a:xfrm>
              <a:off x="4250822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Por</a:t>
              </a:r>
              <a:r>
                <a:rPr lang="en-US" sz="2600" kern="1200" dirty="0" smtClean="0"/>
                <a:t> </a:t>
              </a:r>
              <a:r>
                <a:rPr lang="en-US" sz="2600" kern="1200" dirty="0" err="1" smtClean="0"/>
                <a:t>Qué</a:t>
              </a:r>
              <a:endParaRPr lang="en-US" sz="2600" kern="1200" dirty="0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511027" y="4786961"/>
            <a:ext cx="1858150" cy="464537"/>
            <a:chOff x="4237216" y="799816"/>
            <a:chExt cx="1858150" cy="464537"/>
          </a:xfrm>
        </p:grpSpPr>
        <p:sp>
          <p:nvSpPr>
            <p:cNvPr id="57" name="Rounded Rectangle 56"/>
            <p:cNvSpPr/>
            <p:nvPr/>
          </p:nvSpPr>
          <p:spPr>
            <a:xfrm>
              <a:off x="4237216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Rounded Rectangle 11"/>
            <p:cNvSpPr txBox="1"/>
            <p:nvPr/>
          </p:nvSpPr>
          <p:spPr>
            <a:xfrm>
              <a:off x="4250822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err="1" smtClean="0"/>
                <a:t>Cuándo</a:t>
              </a:r>
              <a:endParaRPr lang="en-US" sz="2600" kern="1200" dirty="0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3629319" y="4800567"/>
            <a:ext cx="1858150" cy="464537"/>
            <a:chOff x="4237216" y="799816"/>
            <a:chExt cx="1858150" cy="464537"/>
          </a:xfrm>
        </p:grpSpPr>
        <p:sp>
          <p:nvSpPr>
            <p:cNvPr id="61" name="Rounded Rectangle 60"/>
            <p:cNvSpPr/>
            <p:nvPr/>
          </p:nvSpPr>
          <p:spPr>
            <a:xfrm>
              <a:off x="4237216" y="799816"/>
              <a:ext cx="1858150" cy="46453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Rounded Rectangle 11"/>
            <p:cNvSpPr txBox="1"/>
            <p:nvPr/>
          </p:nvSpPr>
          <p:spPr>
            <a:xfrm>
              <a:off x="4250822" y="813422"/>
              <a:ext cx="1830938" cy="4373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20" tIns="33020" rIns="33020" bIns="3302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00" kern="1200" dirty="0" smtClean="0"/>
                <a:t>Con </a:t>
              </a:r>
              <a:r>
                <a:rPr lang="en-US" sz="2600" kern="1200" dirty="0" err="1" smtClean="0"/>
                <a:t>Quién</a:t>
              </a:r>
              <a:endParaRPr lang="en-US" sz="2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30429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Who?</a:t>
            </a:r>
            <a:endParaRPr lang="en-US" sz="4000" noProof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2026" y="337930"/>
            <a:ext cx="6437244" cy="428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130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https://46ba123xc93a357lc11tqhds-wpengine.netdna-ssl.com/wp-content/uploads/2018/04/voice-shopping-across-age-demographics-narva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297" y="1797671"/>
            <a:ext cx="5715000" cy="240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710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470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accent1"/>
                </a:solidFill>
              </a:rPr>
              <a:t>What?</a:t>
            </a:r>
            <a:endParaRPr lang="en-US" sz="4000" noProof="0" dirty="0"/>
          </a:p>
        </p:txBody>
      </p:sp>
      <p:pic>
        <p:nvPicPr>
          <p:cNvPr id="24584" name="Picture 8" descr="Resultado de imagen de julio iglesias y lo sab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470" y="709612"/>
            <a:ext cx="6000750" cy="3924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792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Resultado de imagen de statistics virtual assistants peop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92" y="386314"/>
            <a:ext cx="7620000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399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s://brandspace.deloitte.com/downloads/5760ea6b9ca65/lg_Unlock_Large_NEG.ep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318" y="887896"/>
            <a:ext cx="1474166" cy="1474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https://brandspace.deloitte.com/downloads/570c071665cca/lg_Credit_Card_Large_NEG.ep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099" y="887896"/>
            <a:ext cx="1650931" cy="165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8" name="Picture 6" descr="https://brandspace.deloitte.com/downloads/5760d932ea452/lg_Picture_Large_NEG.ep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277" y="2913631"/>
            <a:ext cx="1678248" cy="167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0" name="Picture 8" descr="https://brandspace.deloitte.com/downloads/570d314f9bc56/lg_Headset_Large_NEG.ep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099" y="2913631"/>
            <a:ext cx="1746749" cy="174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214879" y="2268515"/>
            <a:ext cx="12263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err="1" smtClean="0">
                <a:solidFill>
                  <a:srgbClr val="313131"/>
                </a:solidFill>
              </a:rPr>
              <a:t>Password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53760" y="2356897"/>
            <a:ext cx="1173590" cy="254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Pago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72318" y="4537269"/>
            <a:ext cx="15689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Foto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63381" y="4591879"/>
            <a:ext cx="17394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Llamar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718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6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accent1"/>
                </a:solidFill>
              </a:rPr>
              <a:t>To Who?</a:t>
            </a:r>
            <a:endParaRPr lang="en-US" sz="4000" noProof="0" dirty="0"/>
          </a:p>
        </p:txBody>
      </p:sp>
      <p:pic>
        <p:nvPicPr>
          <p:cNvPr id="24580" name="Picture 4" descr="Resultado de imagen de obama sp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34" y="602973"/>
            <a:ext cx="4872867" cy="3250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0410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err="1" smtClean="0"/>
              <a:t>Aplicación</a:t>
            </a:r>
            <a:r>
              <a:rPr lang="en-US" noProof="0" dirty="0" smtClean="0"/>
              <a:t> Con </a:t>
            </a:r>
            <a:r>
              <a:rPr lang="en-US" noProof="0" dirty="0" err="1" smtClean="0"/>
              <a:t>Asistente</a:t>
            </a:r>
            <a:r>
              <a:rPr lang="en-US" noProof="0" dirty="0" smtClean="0"/>
              <a:t> Virtua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9945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31" y="1056862"/>
            <a:ext cx="1175302" cy="117530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4300" y="1056862"/>
            <a:ext cx="1945022" cy="12961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487" y="912342"/>
            <a:ext cx="2378765" cy="1585172"/>
          </a:xfrm>
          <a:prstGeom prst="rect">
            <a:avLst/>
          </a:prstGeom>
        </p:spPr>
      </p:pic>
      <p:pic>
        <p:nvPicPr>
          <p:cNvPr id="27652" name="Picture 4" descr="Resultado de imagen de televisi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7923" y="3332921"/>
            <a:ext cx="2977425" cy="1977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515359" y="5567680"/>
            <a:ext cx="124789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Tv y Otro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2731" y="2497514"/>
            <a:ext cx="14528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Altavoce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15359" y="2519560"/>
            <a:ext cx="12671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err="1" smtClean="0">
                <a:solidFill>
                  <a:srgbClr val="313131"/>
                </a:solidFill>
              </a:rPr>
              <a:t>Móbile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54799" y="2519560"/>
            <a:ext cx="13614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s-ES" sz="1600" dirty="0" smtClean="0">
                <a:solidFill>
                  <a:srgbClr val="313131"/>
                </a:solidFill>
              </a:rPr>
              <a:t>Vehículos</a:t>
            </a:r>
            <a:endParaRPr lang="es-ES" sz="1600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6979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893" y="322652"/>
            <a:ext cx="6466214" cy="4308984"/>
          </a:xfrm>
          <a:prstGeom prst="rect">
            <a:avLst/>
          </a:prstGeom>
        </p:spPr>
      </p:pic>
      <p:sp>
        <p:nvSpPr>
          <p:cNvPr id="10" name="Text Placeholder 1"/>
          <p:cNvSpPr txBox="1">
            <a:spLocks/>
          </p:cNvSpPr>
          <p:nvPr/>
        </p:nvSpPr>
        <p:spPr>
          <a:xfrm>
            <a:off x="0" y="4909929"/>
            <a:ext cx="9144000" cy="13892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8" rtl="0" eaLnBrk="1" latinLnBrk="0" hangingPunct="1">
              <a:spcBef>
                <a:spcPts val="360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-457189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30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76396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3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356391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532787" indent="-176396" algn="l" defTabSz="79849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 smtClean="0">
                <a:solidFill>
                  <a:schemeClr val="accent1"/>
                </a:solidFill>
              </a:rPr>
              <a:t>How?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010944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6" name="Picture 6" descr="Karaoke, Microphone, Sound, Voi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11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2507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https://brandspace.deloitte.com/downloads/59e4fa4b22eb8/lg_58a8acbfa38f33ba29cad2f5.jp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78456"/>
            <a:ext cx="7891669" cy="5261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5411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9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9134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Resultado de imagen de light bul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1899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473" y="0"/>
            <a:ext cx="6820852" cy="535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98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Voice and Sounds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smtClean="0"/>
              <a:t>Op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34771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27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947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457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934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err="1" smtClean="0"/>
              <a:t>Aplicación</a:t>
            </a:r>
            <a:r>
              <a:rPr lang="en-US" noProof="0" dirty="0" smtClean="0"/>
              <a:t> Con </a:t>
            </a:r>
            <a:r>
              <a:rPr lang="en-US" noProof="0" dirty="0" err="1" smtClean="0"/>
              <a:t>Asistente</a:t>
            </a:r>
            <a:r>
              <a:rPr lang="en-US" noProof="0" dirty="0" smtClean="0"/>
              <a:t> Virtual</a:t>
            </a:r>
          </a:p>
          <a:p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Coch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0261282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41" y="237918"/>
            <a:ext cx="8187897" cy="4625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785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 descr="https://brandspace.deloitte.com/downloads/57503b79337fc/lg_File_code_Large_NEG.ep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288" y="582405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603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7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291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70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891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10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8508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79" y="0"/>
            <a:ext cx="8501270" cy="606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106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Resultado de imagen de grita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839" y="0"/>
            <a:ext cx="4382135" cy="4382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1"/>
          <p:cNvSpPr txBox="1">
            <a:spLocks/>
          </p:cNvSpPr>
          <p:nvPr/>
        </p:nvSpPr>
        <p:spPr>
          <a:xfrm>
            <a:off x="0" y="4909929"/>
            <a:ext cx="9144000" cy="13892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8" rtl="0" eaLnBrk="1" latinLnBrk="0" hangingPunct="1">
              <a:spcBef>
                <a:spcPts val="360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1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-457189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30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76396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3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356391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532787" indent="-176396" algn="l" defTabSz="79849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787" indent="-176396" algn="l" defTabSz="914378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 smtClean="0">
                <a:solidFill>
                  <a:schemeClr val="accent1"/>
                </a:solidFill>
              </a:rPr>
              <a:t>Nois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9544713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6" name="Picture 6" descr="Resultado de imagen de mud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3115"/>
            <a:ext cx="9144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2746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Where?</a:t>
            </a:r>
            <a:endParaRPr lang="en-US" sz="4000" noProof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69" y="0"/>
            <a:ext cx="6983259" cy="46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271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 descr="Resultado de imagen de bedroo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302" y="0"/>
            <a:ext cx="8172157" cy="5447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4753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err="1" smtClean="0"/>
              <a:t>Aplicación</a:t>
            </a:r>
            <a:r>
              <a:rPr lang="en-US" noProof="0" dirty="0" smtClean="0"/>
              <a:t> Con </a:t>
            </a:r>
            <a:r>
              <a:rPr lang="en-US" noProof="0" dirty="0" err="1" smtClean="0"/>
              <a:t>Asistente</a:t>
            </a:r>
            <a:r>
              <a:rPr lang="en-US" noProof="0" dirty="0" smtClean="0"/>
              <a:t> Virtual</a:t>
            </a:r>
          </a:p>
          <a:p>
            <a:r>
              <a:rPr lang="en-US" noProof="0" dirty="0" smtClean="0"/>
              <a:t>con </a:t>
            </a:r>
            <a:r>
              <a:rPr lang="en-US" noProof="0" dirty="0" err="1" smtClean="0"/>
              <a:t>Móvi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339226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57393" cy="5830957"/>
          </a:xfrm>
        </p:spPr>
      </p:pic>
    </p:spTree>
    <p:extLst>
      <p:ext uri="{BB962C8B-B14F-4D97-AF65-F5344CB8AC3E}">
        <p14:creationId xmlns:p14="http://schemas.microsoft.com/office/powerpoint/2010/main" val="4007157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66" y="0"/>
            <a:ext cx="6953812" cy="4633912"/>
          </a:xfrm>
        </p:spPr>
      </p:pic>
    </p:spTree>
    <p:extLst>
      <p:ext uri="{BB962C8B-B14F-4D97-AF65-F5344CB8AC3E}">
        <p14:creationId xmlns:p14="http://schemas.microsoft.com/office/powerpoint/2010/main" val="22272420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76" y="0"/>
            <a:ext cx="7357872" cy="490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892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When?</a:t>
            </a:r>
            <a:endParaRPr lang="en-US" sz="4000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482" y="672547"/>
            <a:ext cx="3641035" cy="364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8385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Resultado de imagen de statistics virtual assistants peop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843" y="490332"/>
            <a:ext cx="5883025" cy="4749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028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With Who?</a:t>
            </a:r>
            <a:endParaRPr lang="en-US" sz="4000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482" y="672547"/>
            <a:ext cx="3641035" cy="364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480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270"/>
            <a:ext cx="9144000" cy="6573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38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7180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2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859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Why?</a:t>
            </a:r>
            <a:endParaRPr lang="en-US" sz="4000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482" y="672547"/>
            <a:ext cx="3641035" cy="364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0798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err="1" smtClean="0"/>
              <a:t>Aplicación</a:t>
            </a:r>
            <a:r>
              <a:rPr lang="en-US" noProof="0" dirty="0" smtClean="0"/>
              <a:t> Con </a:t>
            </a:r>
            <a:r>
              <a:rPr lang="en-US" noProof="0" dirty="0" err="1" smtClean="0"/>
              <a:t>Asistente</a:t>
            </a:r>
            <a:r>
              <a:rPr lang="en-US" noProof="0" dirty="0" smtClean="0"/>
              <a:t> Virtual</a:t>
            </a:r>
          </a:p>
          <a:p>
            <a:r>
              <a:rPr lang="en-US" noProof="0" dirty="0" err="1" smtClean="0"/>
              <a:t>Chatbo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270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836" y="120389"/>
            <a:ext cx="4016088" cy="6027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7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419"/>
          </a:xfrm>
          <a:prstGeom prst="rect">
            <a:avLst/>
          </a:prstGeom>
        </p:spPr>
      </p:pic>
      <p:sp>
        <p:nvSpPr>
          <p:cNvPr id="7" name="Title 8"/>
          <p:cNvSpPr txBox="1">
            <a:spLocks/>
          </p:cNvSpPr>
          <p:nvPr/>
        </p:nvSpPr>
        <p:spPr bwMode="gray">
          <a:xfrm>
            <a:off x="2851786" y="4235511"/>
            <a:ext cx="7813675" cy="1592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 err="1" smtClean="0">
                <a:solidFill>
                  <a:schemeClr val="tx1"/>
                </a:solidFill>
              </a:rPr>
              <a:t>Partes</a:t>
            </a:r>
            <a:r>
              <a:rPr lang="en-US" dirty="0" smtClean="0">
                <a:solidFill>
                  <a:schemeClr val="tx1"/>
                </a:solidFill>
              </a:rPr>
              <a:t> a </a:t>
            </a:r>
            <a:r>
              <a:rPr lang="en-US" dirty="0" err="1" smtClean="0">
                <a:solidFill>
                  <a:schemeClr val="tx1"/>
                </a:solidFill>
              </a:rPr>
              <a:t>Diseñar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926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Resultado de imagen de say my nam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175" y="0"/>
            <a:ext cx="5829300" cy="5829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Nombre</a:t>
            </a:r>
            <a:r>
              <a:rPr lang="en-US" dirty="0" smtClean="0">
                <a:solidFill>
                  <a:schemeClr val="tx1"/>
                </a:solidFill>
              </a:rPr>
              <a:t> Skill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598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Resultado de imagen de telefonill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760" y="304801"/>
            <a:ext cx="3840480" cy="512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Invocació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162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Resultado de imagen de alrigh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615" y="0"/>
            <a:ext cx="6750756" cy="5283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Nos </a:t>
            </a:r>
            <a:r>
              <a:rPr lang="en-US" dirty="0" err="1" smtClean="0">
                <a:solidFill>
                  <a:schemeClr val="tx1"/>
                </a:solidFill>
              </a:rPr>
              <a:t>Entiend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72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Complementar</a:t>
            </a:r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2400" b="0" dirty="0" smtClean="0">
                <a:solidFill>
                  <a:schemeClr val="tx1"/>
                </a:solidFill>
              </a:rPr>
              <a:t>Cognitive Services</a:t>
            </a:r>
            <a:endParaRPr lang="en-US" sz="2400" b="0" dirty="0">
              <a:solidFill>
                <a:schemeClr val="tx1"/>
              </a:solidFill>
            </a:endParaRPr>
          </a:p>
        </p:txBody>
      </p:sp>
      <p:pic>
        <p:nvPicPr>
          <p:cNvPr id="55298" name="Picture 2" descr="Resultado de imagen de artificial intellig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582" y="0"/>
            <a:ext cx="5306836" cy="424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0069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Respuesta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2226" name="Picture 2" descr="Resultado de imagen de respuest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732" y="502814"/>
            <a:ext cx="5296535" cy="353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46235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Gestión</a:t>
            </a:r>
            <a:r>
              <a:rPr lang="en-US" dirty="0" smtClean="0">
                <a:solidFill>
                  <a:schemeClr val="tx1"/>
                </a:solidFill>
              </a:rPr>
              <a:t> de </a:t>
            </a:r>
            <a:r>
              <a:rPr lang="en-US" dirty="0" err="1" smtClean="0">
                <a:solidFill>
                  <a:schemeClr val="tx1"/>
                </a:solidFill>
              </a:rPr>
              <a:t>Error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3250" name="Picture 2" descr="Resultado de imagen de fire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02" y="157716"/>
            <a:ext cx="7644395" cy="4678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0338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3067292" y="801100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smtClean="0">
                <a:solidFill>
                  <a:schemeClr val="tx1"/>
                </a:solidFill>
              </a:rPr>
              <a:t>No </a:t>
            </a:r>
            <a:r>
              <a:rPr lang="en-US" sz="2000" dirty="0" err="1" smtClean="0">
                <a:solidFill>
                  <a:schemeClr val="tx1"/>
                </a:solidFill>
              </a:rPr>
              <a:t>entiende</a:t>
            </a:r>
            <a:r>
              <a:rPr lang="en-US" sz="2000" dirty="0" smtClean="0">
                <a:solidFill>
                  <a:schemeClr val="tx1"/>
                </a:solidFill>
              </a:rPr>
              <a:t> la </a:t>
            </a:r>
            <a:r>
              <a:rPr lang="en-US" sz="2000" dirty="0" err="1" smtClean="0">
                <a:solidFill>
                  <a:schemeClr val="tx1"/>
                </a:solidFill>
              </a:rPr>
              <a:t>pregunta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54274" name="Picture 2" descr="Resultado de imagen de fire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80" y="1493134"/>
            <a:ext cx="1969210" cy="2953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8"/>
          <p:cNvSpPr txBox="1">
            <a:spLocks/>
          </p:cNvSpPr>
          <p:nvPr/>
        </p:nvSpPr>
        <p:spPr bwMode="gray">
          <a:xfrm>
            <a:off x="3067292" y="1370188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err="1" smtClean="0">
                <a:solidFill>
                  <a:schemeClr val="tx1"/>
                </a:solidFill>
              </a:rPr>
              <a:t>Tiempo</a:t>
            </a:r>
            <a:r>
              <a:rPr lang="en-US" sz="2000" dirty="0" smtClean="0">
                <a:solidFill>
                  <a:schemeClr val="tx1"/>
                </a:solidFill>
              </a:rPr>
              <a:t> sin </a:t>
            </a:r>
            <a:r>
              <a:rPr lang="en-US" sz="2000" dirty="0" err="1" smtClean="0">
                <a:solidFill>
                  <a:schemeClr val="tx1"/>
                </a:solidFill>
              </a:rPr>
              <a:t>preguntar</a:t>
            </a:r>
            <a:r>
              <a:rPr lang="en-US" sz="2000" dirty="0" smtClean="0">
                <a:solidFill>
                  <a:schemeClr val="tx1"/>
                </a:solidFill>
              </a:rPr>
              <a:t> nada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7" name="Title 8"/>
          <p:cNvSpPr txBox="1">
            <a:spLocks/>
          </p:cNvSpPr>
          <p:nvPr/>
        </p:nvSpPr>
        <p:spPr bwMode="gray">
          <a:xfrm>
            <a:off x="3067292" y="1939276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err="1" smtClean="0">
                <a:solidFill>
                  <a:schemeClr val="tx1"/>
                </a:solidFill>
              </a:rPr>
              <a:t>Pausar</a:t>
            </a:r>
            <a:r>
              <a:rPr lang="en-US" sz="2000" dirty="0" smtClean="0">
                <a:solidFill>
                  <a:schemeClr val="tx1"/>
                </a:solidFill>
              </a:rPr>
              <a:t> la </a:t>
            </a:r>
            <a:r>
              <a:rPr lang="en-US" sz="2000" dirty="0" err="1" smtClean="0">
                <a:solidFill>
                  <a:schemeClr val="tx1"/>
                </a:solidFill>
              </a:rPr>
              <a:t>aplicació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8" name="Title 8"/>
          <p:cNvSpPr txBox="1">
            <a:spLocks/>
          </p:cNvSpPr>
          <p:nvPr/>
        </p:nvSpPr>
        <p:spPr bwMode="gray">
          <a:xfrm>
            <a:off x="3067292" y="2508364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err="1" smtClean="0">
                <a:solidFill>
                  <a:schemeClr val="tx1"/>
                </a:solidFill>
              </a:rPr>
              <a:t>Parar</a:t>
            </a:r>
            <a:r>
              <a:rPr lang="en-US" sz="2000" dirty="0" smtClean="0">
                <a:solidFill>
                  <a:schemeClr val="tx1"/>
                </a:solidFill>
              </a:rPr>
              <a:t> la </a:t>
            </a:r>
            <a:r>
              <a:rPr lang="en-US" sz="2000" dirty="0" err="1" smtClean="0">
                <a:solidFill>
                  <a:schemeClr val="tx1"/>
                </a:solidFill>
              </a:rPr>
              <a:t>aplicació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itle 8"/>
          <p:cNvSpPr txBox="1">
            <a:spLocks/>
          </p:cNvSpPr>
          <p:nvPr/>
        </p:nvSpPr>
        <p:spPr bwMode="gray">
          <a:xfrm>
            <a:off x="3067292" y="3077452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smtClean="0">
                <a:solidFill>
                  <a:schemeClr val="tx1"/>
                </a:solidFill>
              </a:rPr>
              <a:t>Dar </a:t>
            </a:r>
            <a:r>
              <a:rPr lang="en-US" sz="2000" dirty="0" err="1" smtClean="0">
                <a:solidFill>
                  <a:schemeClr val="tx1"/>
                </a:solidFill>
              </a:rPr>
              <a:t>pista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Title 8"/>
          <p:cNvSpPr txBox="1">
            <a:spLocks/>
          </p:cNvSpPr>
          <p:nvPr/>
        </p:nvSpPr>
        <p:spPr bwMode="gray">
          <a:xfrm>
            <a:off x="3067292" y="3646540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err="1" smtClean="0">
                <a:solidFill>
                  <a:schemeClr val="tx1"/>
                </a:solidFill>
              </a:rPr>
              <a:t>Guarda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lo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tos</a:t>
            </a:r>
            <a:r>
              <a:rPr lang="en-US" sz="2000" dirty="0" smtClean="0">
                <a:solidFill>
                  <a:schemeClr val="tx1"/>
                </a:solidFill>
              </a:rPr>
              <a:t> de la </a:t>
            </a:r>
            <a:r>
              <a:rPr lang="en-US" sz="2000" dirty="0" err="1" smtClean="0">
                <a:solidFill>
                  <a:schemeClr val="tx1"/>
                </a:solidFill>
              </a:rPr>
              <a:t>sesió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Title 8"/>
          <p:cNvSpPr txBox="1">
            <a:spLocks/>
          </p:cNvSpPr>
          <p:nvPr/>
        </p:nvSpPr>
        <p:spPr bwMode="gray">
          <a:xfrm>
            <a:off x="3067292" y="4215628"/>
            <a:ext cx="4606724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000" dirty="0" smtClean="0">
                <a:solidFill>
                  <a:schemeClr val="tx1"/>
                </a:solidFill>
              </a:rPr>
              <a:t>…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5725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Resultado de imagen de pinky cerebr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814" y="0"/>
            <a:ext cx="5458146" cy="5458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 txBox="1">
            <a:spLocks/>
          </p:cNvSpPr>
          <p:nvPr/>
        </p:nvSpPr>
        <p:spPr bwMode="gray">
          <a:xfrm>
            <a:off x="3453670" y="3980868"/>
            <a:ext cx="2403120" cy="1592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 err="1" smtClean="0">
                <a:solidFill>
                  <a:schemeClr val="tx1"/>
                </a:solidFill>
              </a:rPr>
              <a:t>Consejo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431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s-ES" sz="2100" b="1" dirty="0"/>
              <a:t>UX </a:t>
            </a:r>
            <a:r>
              <a:rPr lang="es-ES" sz="2100" b="1" dirty="0" err="1"/>
              <a:t>Testing</a:t>
            </a:r>
            <a:r>
              <a:rPr lang="es-ES" sz="2100" b="1" dirty="0"/>
              <a:t> </a:t>
            </a:r>
            <a:r>
              <a:rPr lang="es-ES" sz="2100" b="1" dirty="0" err="1"/>
              <a:t>Voice</a:t>
            </a:r>
            <a:r>
              <a:rPr lang="es-ES" sz="2100" b="1" dirty="0"/>
              <a:t/>
            </a:r>
            <a:br>
              <a:rPr lang="es-ES" sz="2100" b="1" dirty="0"/>
            </a:br>
            <a:r>
              <a:rPr lang="es-ES" sz="2100" b="1" dirty="0" err="1"/>
              <a:t>Assistants</a:t>
            </a:r>
            <a:endParaRPr lang="es-ES" sz="21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pecialist L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Jesús</a:t>
            </a:r>
            <a:r>
              <a:rPr lang="en-US" dirty="0" smtClean="0"/>
              <a:t> Cuesta Arza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666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2" descr="Resultado de imagen de kiss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191" y="1445581"/>
            <a:ext cx="6814875" cy="2947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934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 descr="Resultado de imagen de analisis gramatical oracion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388" y="674225"/>
            <a:ext cx="571500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Frase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Corta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378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Confirma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iguient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fras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6418" y="530807"/>
            <a:ext cx="4448175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6742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Maneja</a:t>
            </a:r>
            <a:r>
              <a:rPr lang="en-US" dirty="0" smtClean="0">
                <a:solidFill>
                  <a:schemeClr val="tx1"/>
                </a:solidFill>
              </a:rPr>
              <a:t> las </a:t>
            </a:r>
            <a:r>
              <a:rPr lang="en-US" dirty="0" err="1" smtClean="0">
                <a:solidFill>
                  <a:schemeClr val="tx1"/>
                </a:solidFill>
              </a:rPr>
              <a:t>Excepcion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1442" name="Picture 2" descr="Resultado de imagen de except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431" y="1006191"/>
            <a:ext cx="4491138" cy="3637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91847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Obt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tos</a:t>
            </a:r>
            <a:r>
              <a:rPr lang="en-US" dirty="0" smtClean="0">
                <a:solidFill>
                  <a:schemeClr val="tx1"/>
                </a:solidFill>
              </a:rPr>
              <a:t> del </a:t>
            </a:r>
            <a:r>
              <a:rPr lang="en-US" dirty="0" err="1" smtClean="0">
                <a:solidFill>
                  <a:schemeClr val="tx1"/>
                </a:solidFill>
              </a:rPr>
              <a:t>usuario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490" name="Picture 2" descr="Resultado de imagen de sp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52" y="968192"/>
            <a:ext cx="6845742" cy="405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3236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ersistencia</a:t>
            </a:r>
            <a:r>
              <a:rPr lang="en-US" dirty="0" smtClean="0">
                <a:solidFill>
                  <a:schemeClr val="tx1"/>
                </a:solidFill>
              </a:rPr>
              <a:t> de </a:t>
            </a:r>
            <a:r>
              <a:rPr lang="en-US" dirty="0" err="1" smtClean="0">
                <a:solidFill>
                  <a:schemeClr val="tx1"/>
                </a:solidFill>
              </a:rPr>
              <a:t>lo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to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4514" name="Picture 2" descr="Resultado de imagen de persistenci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594" y="491496"/>
            <a:ext cx="5564811" cy="3937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271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Usado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o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iferentes</a:t>
            </a:r>
            <a:r>
              <a:rPr lang="en-US" dirty="0" smtClean="0">
                <a:solidFill>
                  <a:schemeClr val="tx1"/>
                </a:solidFill>
              </a:rPr>
              <a:t> persona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5538" name="Picture 2" descr="Resultado de imagen de peop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30504"/>
            <a:ext cx="7620000" cy="490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501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Diferente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Cultura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6564" name="Picture 4" descr="Resultado de imagen de diversit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935" y="300941"/>
            <a:ext cx="3940129" cy="4215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862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smtClean="0"/>
              <a:t>Dialog Flow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53149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smtClean="0"/>
              <a:t>Amazon Alex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89748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2425" y="402586"/>
            <a:ext cx="8439150" cy="5896613"/>
          </a:xfrm>
        </p:spPr>
        <p:txBody>
          <a:bodyPr/>
          <a:lstStyle/>
          <a:p>
            <a:pPr algn="ctr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 err="1" smtClean="0"/>
              <a:t>Qué</a:t>
            </a:r>
            <a:r>
              <a:rPr lang="en-US" sz="3600" dirty="0" smtClean="0"/>
              <a:t> </a:t>
            </a:r>
            <a:r>
              <a:rPr lang="en-US" sz="3600" dirty="0" err="1" smtClean="0"/>
              <a:t>Veremos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Con </a:t>
            </a:r>
            <a:r>
              <a:rPr lang="en-US" sz="3600" dirty="0" err="1" smtClean="0"/>
              <a:t>Qué</a:t>
            </a:r>
            <a:r>
              <a:rPr lang="en-US" sz="3600" dirty="0" smtClean="0"/>
              <a:t> </a:t>
            </a:r>
            <a:r>
              <a:rPr lang="en-US" sz="3600" dirty="0" err="1" smtClean="0"/>
              <a:t>nos</a:t>
            </a:r>
            <a:r>
              <a:rPr lang="en-US" sz="3600" dirty="0" smtClean="0"/>
              <a:t> </a:t>
            </a:r>
            <a:r>
              <a:rPr lang="en-US" sz="3600" dirty="0" err="1" smtClean="0"/>
              <a:t>Iremos</a:t>
            </a:r>
            <a:endParaRPr lang="en-US" sz="3600" noProof="0" dirty="0"/>
          </a:p>
        </p:txBody>
      </p:sp>
    </p:spTree>
    <p:extLst>
      <p:ext uri="{BB962C8B-B14F-4D97-AF65-F5344CB8AC3E}">
        <p14:creationId xmlns:p14="http://schemas.microsoft.com/office/powerpoint/2010/main" val="1886603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909929"/>
            <a:ext cx="9144000" cy="1389273"/>
          </a:xfrm>
        </p:spPr>
        <p:txBody>
          <a:bodyPr>
            <a:noAutofit/>
          </a:bodyPr>
          <a:lstStyle/>
          <a:p>
            <a:pPr algn="ctr"/>
            <a:r>
              <a:rPr lang="en-US" sz="4000" noProof="0" dirty="0" smtClean="0">
                <a:solidFill>
                  <a:schemeClr val="accent1"/>
                </a:solidFill>
              </a:rPr>
              <a:t>QA &amp; UX</a:t>
            </a:r>
            <a:endParaRPr lang="en-US" sz="4000" noProof="0" dirty="0"/>
          </a:p>
        </p:txBody>
      </p:sp>
      <p:pic>
        <p:nvPicPr>
          <p:cNvPr id="67586" name="Picture 2" descr="Resultado de imagen de check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955" y="474562"/>
            <a:ext cx="3956090" cy="395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9822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Gestión</a:t>
            </a:r>
            <a:r>
              <a:rPr lang="en-US" dirty="0" smtClean="0">
                <a:solidFill>
                  <a:schemeClr val="tx1"/>
                </a:solidFill>
              </a:rPr>
              <a:t> con </a:t>
            </a:r>
            <a:r>
              <a:rPr lang="en-US" dirty="0" err="1" smtClean="0">
                <a:solidFill>
                  <a:schemeClr val="tx1"/>
                </a:solidFill>
              </a:rPr>
              <a:t>Version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0582" y="2099779"/>
            <a:ext cx="4076700" cy="136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894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rueb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nual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8610" name="Picture 2" descr="Resultado de imagen de touc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6053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rueb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Funcional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0658" name="Picture 2" descr="Resultado de imagen de automation test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8375" y="0"/>
            <a:ext cx="5607250" cy="4260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9026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Integración</a:t>
            </a:r>
            <a:r>
              <a:rPr lang="en-US" dirty="0" smtClean="0">
                <a:solidFill>
                  <a:schemeClr val="tx1"/>
                </a:solidFill>
              </a:rPr>
              <a:t> Continua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2706" name="Picture 2" descr="Resultado de imagen de artificial intellig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182" y="0"/>
            <a:ext cx="6076707" cy="405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64064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rueb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Funcional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0658" name="Picture 2" descr="Resultado de imagen de automation test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8375" y="0"/>
            <a:ext cx="5607250" cy="4260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0421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 txBox="1">
            <a:spLocks/>
          </p:cNvSpPr>
          <p:nvPr/>
        </p:nvSpPr>
        <p:spPr bwMode="gray">
          <a:xfrm>
            <a:off x="0" y="5135880"/>
            <a:ext cx="9144000" cy="6920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88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Últim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Validación</a:t>
            </a:r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2000" dirty="0" err="1" smtClean="0">
                <a:solidFill>
                  <a:schemeClr val="tx1"/>
                </a:solidFill>
              </a:rPr>
              <a:t>Por</a:t>
            </a:r>
            <a:r>
              <a:rPr lang="en-US" sz="2000" dirty="0" smtClean="0">
                <a:solidFill>
                  <a:schemeClr val="tx1"/>
                </a:solidFill>
              </a:rPr>
              <a:t> Google, Amazon, Samsung…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3730" name="Picture 2" descr="Resultado de imagen de juego de tronos mur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72" y="0"/>
            <a:ext cx="8622456" cy="4814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648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pecialist L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Jesús</a:t>
            </a:r>
            <a:r>
              <a:rPr lang="en-US" dirty="0" smtClean="0"/>
              <a:t> Cuesta Arza</a:t>
            </a: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4751" y="1054108"/>
            <a:ext cx="3362325" cy="479107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56400" y="2296003"/>
            <a:ext cx="3787583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Gracias </a:t>
            </a:r>
            <a:r>
              <a:rPr lang="en-US" sz="5400" b="1" cap="none" spc="0" dirty="0" err="1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por</a:t>
            </a:r>
            <a:r>
              <a:rPr lang="en-US" sz="5400" b="1" cap="none" spc="0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 </a:t>
            </a:r>
            <a:r>
              <a:rPr lang="en-US" sz="5400" b="1" cap="none" spc="0" dirty="0" err="1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Asistir</a:t>
            </a:r>
            <a:endParaRPr lang="en-US" sz="54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20611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ción7" id="{901BC479-0F62-FE41-9812-15708A6B4146}" vid="{856E44EC-3BDA-0C4E-B66D-0C14D47972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cion 16-9 - DxD</Template>
  <TotalTime>676</TotalTime>
  <Words>314</Words>
  <Application>Microsoft Office PowerPoint</Application>
  <PresentationFormat>On-screen Show (4:3)</PresentationFormat>
  <Paragraphs>213</Paragraphs>
  <Slides>97</Slides>
  <Notes>9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7</vt:i4>
      </vt:variant>
    </vt:vector>
  </HeadingPairs>
  <TitlesOfParts>
    <vt:vector size="103" baseType="lpstr">
      <vt:lpstr>Arial</vt:lpstr>
      <vt:lpstr>Open Sans</vt:lpstr>
      <vt:lpstr>Verdana</vt:lpstr>
      <vt:lpstr>Wingdings 2</vt:lpstr>
      <vt:lpstr>Deloitte_US_Onscreen</vt:lpstr>
      <vt:lpstr>think-cell Slide</vt:lpstr>
      <vt:lpstr>PowerPoint Presentation</vt:lpstr>
      <vt:lpstr>UX Testing Voice Assistants</vt:lpstr>
      <vt:lpstr>PowerPoint Presentation</vt:lpstr>
      <vt:lpstr>Demo</vt:lpstr>
      <vt:lpstr>Demo</vt:lpstr>
      <vt:lpstr>Demo</vt:lpstr>
      <vt:lpstr>Demo</vt:lpstr>
      <vt:lpstr>UX Testing Voice Assistants</vt:lpstr>
      <vt:lpstr>      Qué Veremos  Con Qué nos Iremos</vt:lpstr>
      <vt:lpstr>PowerPoint Presentation</vt:lpstr>
      <vt:lpstr>PowerPoint Presentation</vt:lpstr>
      <vt:lpstr>     ”Una de cada cinco búsquedas ya se realiza mediante voz” Google</vt:lpstr>
      <vt:lpstr>     ” Más de 7.500 millones de dispositivos en 2021” OVUM</vt:lpstr>
      <vt:lpstr>     ” 100 millones vendidos” al finalizar 2018</vt:lpstr>
      <vt:lpstr>     Amazon Líder (32% de cuota) Segundo está Google (23%) Q3 de 2018</vt:lpstr>
      <vt:lpstr>     10’7% En España 4300K Hogares Q2 de 2019</vt:lpstr>
      <vt:lpstr>PowerPoint Presentation</vt:lpstr>
      <vt:lpstr>     Android &amp; Google Assistant (51% ) Siri(31%) 2019</vt:lpstr>
      <vt:lpstr>PowerPoint Presentation</vt:lpstr>
      <vt:lpstr>PowerPoint Presentation</vt:lpstr>
      <vt:lpstr>PowerPoint Presentation</vt:lpstr>
      <vt:lpstr>PowerPoint Presentation</vt:lpstr>
      <vt:lpstr>     Option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oice and Soun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</vt:lpstr>
      <vt:lpstr>Dem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Cuesta Arza, Jesus</dc:creator>
  <cp:lastModifiedBy>Cuesta Arza, Jesus</cp:lastModifiedBy>
  <cp:revision>52</cp:revision>
  <cp:lastPrinted>2014-06-25T02:16:22Z</cp:lastPrinted>
  <dcterms:created xsi:type="dcterms:W3CDTF">2019-11-17T17:04:33Z</dcterms:created>
  <dcterms:modified xsi:type="dcterms:W3CDTF">2019-11-20T01:53:52Z</dcterms:modified>
</cp:coreProperties>
</file>